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C22B620E-282B-4489-BDAF-E4C660329CE7}"/>
    <pc:docChg chg="undo custSel modSld">
      <pc:chgData name="Weigel Stefan (PAR-EPS)" userId="fd3b2067-2981-4ad8-bf3a-d2e1004e4fa8" providerId="ADAL" clId="{C22B620E-282B-4489-BDAF-E4C660329CE7}" dt="2024-02-28T13:28:27.910" v="32" actId="20577"/>
      <pc:docMkLst>
        <pc:docMk/>
      </pc:docMkLst>
      <pc:sldChg chg="modSp mod">
        <pc:chgData name="Weigel Stefan (PAR-EPS)" userId="fd3b2067-2981-4ad8-bf3a-d2e1004e4fa8" providerId="ADAL" clId="{C22B620E-282B-4489-BDAF-E4C660329CE7}" dt="2024-02-28T13:28:27.910" v="32" actId="20577"/>
        <pc:sldMkLst>
          <pc:docMk/>
          <pc:sldMk cId="2624746743" sldId="403"/>
        </pc:sldMkLst>
        <pc:spChg chg="mod">
          <ac:chgData name="Weigel Stefan (PAR-EPS)" userId="fd3b2067-2981-4ad8-bf3a-d2e1004e4fa8" providerId="ADAL" clId="{C22B620E-282B-4489-BDAF-E4C660329CE7}" dt="2024-02-28T13:26:03.959" v="2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6:10.809" v="3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7:08.227" v="13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C22B620E-282B-4489-BDAF-E4C660329CE7}" dt="2024-02-28T13:28:27.910" v="32" actId="20577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C22B620E-282B-4489-BDAF-E4C660329CE7}" dt="2024-02-28T13:28:04.876" v="28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C22B620E-282B-4489-BDAF-E4C660329CE7}" dt="2024-02-28T13:27:56.519" v="27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ercentuale di provenienza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zione e acquisto 16,7 Hz</c:v>
                </c:pt>
                <c:pt idx="1">
                  <c:v>Produzione e acquisto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1852.5989999999999</c:v>
                </c:pt>
                <c:pt idx="1">
                  <c:v>701.13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7796454662666183"/>
          <c:y val="0.76629281032793894"/>
          <c:w val="0.44897059528414851"/>
          <c:h val="6.8877897515893377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Percentuali di utilizzo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Esercizio ferroviario FFS</c:v>
                </c:pt>
                <c:pt idx="1">
                  <c:v>Esercizio ferroviario, altri</c:v>
                </c:pt>
                <c:pt idx="2">
                  <c:v>Consumo proprio e perdite</c:v>
                </c:pt>
                <c:pt idx="3">
                  <c:v>Funzionamento pompe</c:v>
                </c:pt>
                <c:pt idx="4">
                  <c:v>Vendita sul mercato e scambio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27.175</c:v>
                </c:pt>
                <c:pt idx="1">
                  <c:v>271.90499999999997</c:v>
                </c:pt>
                <c:pt idx="2">
                  <c:v>126.139</c:v>
                </c:pt>
                <c:pt idx="3">
                  <c:v>45.311</c:v>
                </c:pt>
                <c:pt idx="4">
                  <c:v>69.615000000000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42213482325211132"/>
          <c:h val="0.1768237786810688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lettrica per l’esercizio ferroviario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79101929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3363705413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di </a:t>
            </a:r>
            <a:r>
              <a:rPr kumimoji="0" lang="de-CH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venienza</a:t>
            </a:r>
            <a:endParaRPr kumimoji="0" lang="de-CH" sz="1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i</a:t>
            </a: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di utilizzo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833416" y="6397975"/>
            <a:ext cx="1033074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In </a:t>
            </a: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ermini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</a:t>
            </a: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etti</a:t>
            </a:r>
            <a:endParaRPr kumimoji="0" lang="de-CH" sz="10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62037" y="6147530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ED6265-59F8-4952-8CF8-7B3BD116FE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2006/documentManagement/types"/>
    <ds:schemaRef ds:uri="2f5c8543-cf23-4718-a3b8-32b0a91d511a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nergia elettrica per l’esercizio ferroviario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a elettrica per l’esercizio ferroviario nel 2023.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4-02-28T14:2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